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272" r:id="rId5"/>
    <p:sldId id="374" r:id="rId6"/>
    <p:sldId id="375" r:id="rId7"/>
    <p:sldId id="376" r:id="rId8"/>
    <p:sldId id="262" r:id="rId9"/>
    <p:sldId id="261" r:id="rId10"/>
    <p:sldId id="268" r:id="rId11"/>
    <p:sldId id="275" r:id="rId12"/>
    <p:sldId id="354" r:id="rId13"/>
    <p:sldId id="341" r:id="rId14"/>
    <p:sldId id="286" r:id="rId15"/>
    <p:sldId id="356" r:id="rId16"/>
    <p:sldId id="355" r:id="rId17"/>
    <p:sldId id="357" r:id="rId18"/>
    <p:sldId id="280" r:id="rId19"/>
    <p:sldId id="285" r:id="rId20"/>
    <p:sldId id="281" r:id="rId21"/>
    <p:sldId id="282" r:id="rId22"/>
    <p:sldId id="361" r:id="rId23"/>
    <p:sldId id="362" r:id="rId24"/>
    <p:sldId id="359" r:id="rId25"/>
    <p:sldId id="360" r:id="rId26"/>
    <p:sldId id="369" r:id="rId27"/>
    <p:sldId id="364" r:id="rId28"/>
    <p:sldId id="363" r:id="rId29"/>
    <p:sldId id="271" r:id="rId30"/>
    <p:sldId id="260" r:id="rId31"/>
    <p:sldId id="270" r:id="rId32"/>
    <p:sldId id="358" r:id="rId33"/>
    <p:sldId id="390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B9D5031-EDAE-47E8-BFE7-9C354D70745D}">
          <p14:sldIdLst>
            <p14:sldId id="272"/>
          </p14:sldIdLst>
        </p14:section>
        <p14:section name="Title Slides" id="{9B562A97-D7B0-49D4-AD7D-575183D3E757}">
          <p14:sldIdLst>
            <p14:sldId id="374"/>
            <p14:sldId id="375"/>
            <p14:sldId id="376"/>
          </p14:sldIdLst>
        </p14:section>
        <p14:section name="Section Title Slides" id="{04F24238-D37B-45FB-ADD1-E44A5585ED2C}">
          <p14:sldIdLst>
            <p14:sldId id="262"/>
            <p14:sldId id="261"/>
            <p14:sldId id="268"/>
            <p14:sldId id="275"/>
            <p14:sldId id="354"/>
          </p14:sldIdLst>
        </p14:section>
        <p14:section name="Template Slides" id="{B4999F17-38C8-4A1C-BEDB-2CA6374DCDA5}">
          <p14:sldIdLst>
            <p14:sldId id="341"/>
            <p14:sldId id="286"/>
            <p14:sldId id="356"/>
            <p14:sldId id="355"/>
            <p14:sldId id="357"/>
            <p14:sldId id="280"/>
            <p14:sldId id="285"/>
            <p14:sldId id="281"/>
            <p14:sldId id="282"/>
            <p14:sldId id="361"/>
            <p14:sldId id="362"/>
            <p14:sldId id="359"/>
            <p14:sldId id="360"/>
            <p14:sldId id="369"/>
            <p14:sldId id="364"/>
            <p14:sldId id="363"/>
          </p14:sldIdLst>
        </p14:section>
        <p14:section name="Large Text Slides" id="{92777B31-82F5-4542-BF3A-45247569562C}">
          <p14:sldIdLst>
            <p14:sldId id="271"/>
            <p14:sldId id="260"/>
            <p14:sldId id="270"/>
            <p14:sldId id="358"/>
            <p14:sldId id="39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7520" autoAdjust="0"/>
  </p:normalViewPr>
  <p:slideViewPr>
    <p:cSldViewPr snapToGrid="0" snapToObjects="1" showGuides="1">
      <p:cViewPr varScale="1">
        <p:scale>
          <a:sx n="67" d="100"/>
          <a:sy n="67" d="100"/>
        </p:scale>
        <p:origin x="50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ne 29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ne 29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0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34.xml"/><Relationship Id="rId7" Type="http://schemas.openxmlformats.org/officeDocument/2006/relationships/image" Target="../media/image21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38.xml"/><Relationship Id="rId7" Type="http://schemas.openxmlformats.org/officeDocument/2006/relationships/image" Target="../media/image23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52.xml"/><Relationship Id="rId7" Type="http://schemas.openxmlformats.org/officeDocument/2006/relationships/image" Target="../media/image26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2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30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3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9.xml"/><Relationship Id="rId7" Type="http://schemas.openxmlformats.org/officeDocument/2006/relationships/image" Target="../media/image1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9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8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2506B1-B641-4318-A860-F5EAF5AC0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74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2506B1-B641-4318-A860-F5EAF5AC0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52254C9-9C11-41B9-A61B-6382FF93B9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7227306" cy="2019299"/>
          </a:xfrm>
        </p:spPr>
        <p:txBody>
          <a:bodyPr/>
          <a:lstStyle/>
          <a:p>
            <a:r>
              <a:rPr lang="en-US" dirty="0">
                <a:solidFill>
                  <a:srgbClr val="DC202E"/>
                </a:solidFill>
              </a:rPr>
              <a:t>Honeywell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PowerPoint template 2020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</p:spPr>
        <p:txBody>
          <a:bodyPr/>
          <a:lstStyle/>
          <a:p>
            <a:fld id="{5324B254-2090-4DEC-BA04-48B68A4DE2DD}" type="datetime4">
              <a:rPr lang="en-US" smtClean="0"/>
              <a:t>June 29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18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4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apter title</a:t>
            </a:r>
          </a:p>
          <a:p>
            <a:pPr lvl="1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</a:t>
            </a:r>
          </a:p>
          <a:p>
            <a:r>
              <a:rPr lang="en-US" dirty="0"/>
              <a:t>Chapter title</a:t>
            </a:r>
          </a:p>
          <a:p>
            <a:pPr lvl="1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8D7555-CE33-4267-9987-E5FF8C3A9CD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>
              <a:buFont typeface="+mj-lt"/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diam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 lvl="0">
              <a:buAutoNum type="arabicPeriod" startAt="4"/>
            </a:pPr>
            <a:r>
              <a:rPr lang="en-US" dirty="0">
                <a:solidFill>
                  <a:prstClr val="black"/>
                </a:solidFill>
              </a:rPr>
              <a:t>Chapter title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Lorem ipsum dolor sit </a:t>
            </a:r>
            <a:r>
              <a:rPr lang="en-US" dirty="0" err="1">
                <a:solidFill>
                  <a:prstClr val="black"/>
                </a:solidFill>
              </a:rPr>
              <a:t>amet</a:t>
            </a:r>
            <a:r>
              <a:rPr lang="en-US" dirty="0">
                <a:solidFill>
                  <a:prstClr val="black"/>
                </a:solidFill>
              </a:rPr>
              <a:t>,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 err="1">
                <a:solidFill>
                  <a:prstClr val="black"/>
                </a:solidFill>
              </a:rPr>
              <a:t>ea</a:t>
            </a:r>
            <a:r>
              <a:rPr lang="en-US" dirty="0">
                <a:solidFill>
                  <a:prstClr val="black"/>
                </a:solidFill>
              </a:rPr>
              <a:t> diam </a:t>
            </a:r>
            <a:r>
              <a:rPr lang="en-US" dirty="0" err="1">
                <a:solidFill>
                  <a:prstClr val="black"/>
                </a:solidFill>
              </a:rPr>
              <a:t>vitu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perata</a:t>
            </a:r>
            <a:r>
              <a:rPr lang="en-US" dirty="0">
                <a:solidFill>
                  <a:prstClr val="black"/>
                </a:solidFill>
              </a:rPr>
              <a:t> sea</a:t>
            </a:r>
          </a:p>
          <a:p>
            <a:pPr>
              <a:buAutoNum type="arabicPeriod" startAt="4"/>
            </a:pP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197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18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, Arial black 32pt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87EB5C-CE08-4875-AEDD-223A01724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06240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>
              <a:buClr>
                <a:srgbClr val="DC202E"/>
              </a:buClr>
            </a:pPr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>
              <a:buClr>
                <a:prstClr val="black"/>
              </a:buClr>
            </a:pPr>
            <a:r>
              <a:rPr lang="en-US" dirty="0">
                <a:solidFill>
                  <a:prstClr val="black"/>
                </a:solidFill>
              </a:rPr>
              <a:t>Third level of text, bullet, Arial 20pt</a:t>
            </a:r>
          </a:p>
          <a:p>
            <a:pPr lvl="3">
              <a:buClr>
                <a:srgbClr val="E0E0E0">
                  <a:lumMod val="25000"/>
                </a:srgbClr>
              </a:buClr>
            </a:pPr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>
                <a:solidFill>
                  <a:prstClr val="black"/>
                </a:solidFill>
              </a:rPr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Key Takeaway, Lorem ipsum dolor sit amet, ea diam vitu perata se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72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93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042100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27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  <a:p>
            <a:pPr lvl="3"/>
            <a:r>
              <a:rPr lang="en-US" dirty="0">
                <a:solidFill>
                  <a:prstClr val="black"/>
                </a:solidFill>
              </a:rPr>
              <a:t>Fourth level of text, sub-bullet, Arial 18pt</a:t>
            </a:r>
          </a:p>
          <a:p>
            <a:pPr lvl="4"/>
            <a:r>
              <a:rPr lang="en-US" dirty="0"/>
              <a:t>Fifth level</a:t>
            </a:r>
            <a:r>
              <a:rPr lang="en-US" dirty="0">
                <a:solidFill>
                  <a:srgbClr val="DC202E"/>
                </a:solidFill>
              </a:rPr>
              <a:t> </a:t>
            </a:r>
            <a:r>
              <a:rPr lang="en-US" dirty="0"/>
              <a:t>of text, Arial Bold, 16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9718C47-70B3-4B46-8D6F-6F744014404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1409700"/>
            <a:ext cx="5372100" cy="4340235"/>
          </a:xfrm>
        </p:spPr>
      </p:pic>
    </p:spTree>
    <p:extLst>
      <p:ext uri="{BB962C8B-B14F-4D97-AF65-F5344CB8AC3E}">
        <p14:creationId xmlns:p14="http://schemas.microsoft.com/office/powerpoint/2010/main" val="1100359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6B3B15-7F13-4A8C-8EC6-071A0409E4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637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6B3B15-7F13-4A8C-8EC6-071A0409E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676698-1BB5-4861-AF6C-CC7EC03F3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/>
            <a:r>
              <a:rPr lang="en-US" dirty="0"/>
              <a:t>Third level of text, bullet, Arial 20p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B85AC-698D-4575-8395-DDC784BD9F8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econd level of text, Arial 24pt</a:t>
            </a:r>
          </a:p>
          <a:p>
            <a:pPr lvl="2"/>
            <a:r>
              <a:rPr lang="en-US" dirty="0"/>
              <a:t>Third level of text, bullet, Arial 20pt</a:t>
            </a:r>
          </a:p>
          <a:p>
            <a:endParaRPr lang="en-US" dirty="0"/>
          </a:p>
        </p:txBody>
      </p:sp>
      <p:pic>
        <p:nvPicPr>
          <p:cNvPr id="11" name="Picture Placeholder 10" descr="A large building&#10;&#10;Description automatically generated">
            <a:extLst>
              <a:ext uri="{FF2B5EF4-FFF2-40B4-BE49-F238E27FC236}">
                <a16:creationId xmlns:a16="http://schemas.microsoft.com/office/drawing/2014/main" id="{AB12165D-FFE1-4575-A192-BADEF519334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5372100" cy="2247900"/>
          </a:xfrm>
        </p:spPr>
      </p:pic>
      <p:pic>
        <p:nvPicPr>
          <p:cNvPr id="15" name="Picture Placeholder 14" descr="A view of a city at sunset&#10;&#10;Description automatically generated">
            <a:extLst>
              <a:ext uri="{FF2B5EF4-FFF2-40B4-BE49-F238E27FC236}">
                <a16:creationId xmlns:a16="http://schemas.microsoft.com/office/drawing/2014/main" id="{3280BEC1-01EE-4856-8EF2-B3E4646CF1A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41184499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0FC7BA-7BF7-45CC-8F85-E2C973156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68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0FC7BA-7BF7-45CC-8F85-E2C973156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A5DA13-BBD2-420E-B370-1B7CAD5B7B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040C575-49B5-43C2-BC5F-0563FAB89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4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D6956A-C9F6-4415-92F5-4E0497A6F3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762682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C7BC9B-B865-4D8B-9A08-2EBFB13FF1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C7BC9B-B865-4D8B-9A08-2EBFB13FF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FED21C-20FB-4901-8A0B-86EB97505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1D7B631-5ACB-416F-8D30-F94466CC0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/>
              <a:t>First level of text, Arial Bold, 24pt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BB38D549-8C11-4890-ABF8-01AA455E026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0D7DF078-668F-4BCD-8FB3-AA851ACCBC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4033FCF-1C5B-4DB8-A172-1FF26CF498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43DDEE9-C27C-46FD-9927-F682FF3D4A8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3429000" cy="2247900"/>
          </a:xfrm>
        </p:spPr>
      </p:pic>
    </p:spTree>
    <p:extLst>
      <p:ext uri="{BB962C8B-B14F-4D97-AF65-F5344CB8AC3E}">
        <p14:creationId xmlns:p14="http://schemas.microsoft.com/office/powerpoint/2010/main" val="22868943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B172D0-B6D2-4D67-9B5A-AC0B9F1B3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71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B172D0-B6D2-4D67-9B5A-AC0B9F1B3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98755F9-53CB-468B-B4EA-C1976856A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DADAB7-3AA4-4CDD-8838-7B70C8AC2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6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sz="2000" dirty="0">
                <a:solidFill>
                  <a:prstClr val="black"/>
                </a:solidFill>
              </a:rPr>
              <a:t>First level of text, Arial Bold 20pt</a:t>
            </a:r>
          </a:p>
          <a:p>
            <a:pPr lvl="1"/>
            <a:r>
              <a:rPr lang="en-US" sz="2000" dirty="0"/>
              <a:t>Second level</a:t>
            </a:r>
            <a:r>
              <a:rPr lang="en-US" sz="2000" dirty="0">
                <a:solidFill>
                  <a:prstClr val="black"/>
                </a:solidFill>
              </a:rPr>
              <a:t> of text, Arial 20pt</a:t>
            </a:r>
            <a:endParaRPr lang="en-US" sz="2000" dirty="0"/>
          </a:p>
          <a:p>
            <a:pPr lvl="2"/>
            <a:r>
              <a:rPr lang="en-US" sz="1800" dirty="0"/>
              <a:t>Third level</a:t>
            </a:r>
            <a:r>
              <a:rPr lang="en-US" sz="1800" dirty="0">
                <a:solidFill>
                  <a:prstClr val="black"/>
                </a:solidFill>
              </a:rPr>
              <a:t> of text, bullet, Arial 18pt</a:t>
            </a:r>
            <a:endParaRPr lang="en-US" sz="1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F0D3F1-E5EE-4D14-993E-0FC50F9D04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1704412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549CBC-E47F-4EF6-B685-88E01EB60F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55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549CBC-E47F-4EF6-B685-88E01EB60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6F9235-61EF-405C-B6D5-91C5E3B347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1A51C32-CE4D-4AF5-AD38-A1A84F741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7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 lvl="1"/>
            <a:r>
              <a:rPr lang="en-US" dirty="0"/>
              <a:t>Second level</a:t>
            </a:r>
            <a:r>
              <a:rPr lang="en-US" dirty="0">
                <a:solidFill>
                  <a:prstClr val="black"/>
                </a:solidFill>
              </a:rPr>
              <a:t> of text, Arial 24pt</a:t>
            </a:r>
            <a:endParaRPr lang="en-US" dirty="0"/>
          </a:p>
          <a:p>
            <a:pPr lvl="2"/>
            <a:r>
              <a:rPr lang="en-US" dirty="0"/>
              <a:t>Third level</a:t>
            </a:r>
            <a:r>
              <a:rPr lang="en-US" dirty="0">
                <a:solidFill>
                  <a:prstClr val="black"/>
                </a:solidFill>
              </a:rPr>
              <a:t> of text, bullet, Arial 2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058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89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8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89A04-2005-455B-8118-F00C9774F8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CBE9C7-C8EA-4F61-B136-EEE584996E7C}"/>
              </a:ext>
            </a:extLst>
          </p:cNvPr>
          <p:cNvSpPr/>
          <p:nvPr/>
        </p:nvSpPr>
        <p:spPr>
          <a:xfrm>
            <a:off x="495299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169B43-1725-43B8-875D-0E31022405A8}"/>
              </a:ext>
            </a:extLst>
          </p:cNvPr>
          <p:cNvSpPr/>
          <p:nvPr/>
        </p:nvSpPr>
        <p:spPr>
          <a:xfrm>
            <a:off x="495299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F08A5B-486A-4CA0-B198-61F30E54226C}"/>
              </a:ext>
            </a:extLst>
          </p:cNvPr>
          <p:cNvSpPr/>
          <p:nvPr/>
        </p:nvSpPr>
        <p:spPr>
          <a:xfrm>
            <a:off x="4289016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D1632C-F8D2-48DC-A353-E212F21AA225}"/>
              </a:ext>
            </a:extLst>
          </p:cNvPr>
          <p:cNvSpPr/>
          <p:nvPr/>
        </p:nvSpPr>
        <p:spPr>
          <a:xfrm>
            <a:off x="4289016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458FB8-AF2D-447C-8CBA-11D1EE5E9058}"/>
              </a:ext>
            </a:extLst>
          </p:cNvPr>
          <p:cNvSpPr/>
          <p:nvPr/>
        </p:nvSpPr>
        <p:spPr>
          <a:xfrm>
            <a:off x="8082734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0B8571-ACCB-49CE-892B-FD8CE1E91FEA}"/>
              </a:ext>
            </a:extLst>
          </p:cNvPr>
          <p:cNvSpPr/>
          <p:nvPr/>
        </p:nvSpPr>
        <p:spPr>
          <a:xfrm>
            <a:off x="8082735" y="1828800"/>
            <a:ext cx="3613966" cy="38354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811826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2FA27E-8CE6-467E-BCD3-6F273BC79CF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7184CA56-742D-473B-915D-E848392CCD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7">
            <a:extLst>
              <a:ext uri="{FF2B5EF4-FFF2-40B4-BE49-F238E27FC236}">
                <a16:creationId xmlns:a16="http://schemas.microsoft.com/office/drawing/2014/main" id="{433B9463-F87D-40DA-911B-D4605187A46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5CA9A7-1B11-4D5D-BEB1-6BD56DE8ED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CCD1777-48CD-4910-97EE-443CBDB00D4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senta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5A3AA89-9865-418D-BC35-5B8FEBA8C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93DEF-68FA-4D29-987F-2D76EC479882}" type="datetime4">
              <a:rPr lang="en-US" smtClean="0"/>
              <a:pPr/>
              <a:t>June 29, 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25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6A843A-2282-4F8C-A8D7-81CB47B5C0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074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6A843A-2282-4F8C-A8D7-81CB47B5C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EDEAA3-565A-4C12-A75E-214A28B6E1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9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95299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5299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289016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289016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082734" y="1409700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082735" y="1828800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4316012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159293-C78F-41B5-A74A-DFEF615945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29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159293-C78F-41B5-A74A-DFEF61594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66F9B7-9838-4402-BEF2-5A286BF64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B73EE59-9AA8-4FBE-8BDD-E5B2303EA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F2C38-6BE6-4F24-B5DE-C04CDBA2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0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91069C-F97D-4E61-8CAC-37DC4DF7DE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F2242A-139A-4988-B9DD-E5D5F4BE7FBE}"/>
              </a:ext>
            </a:extLst>
          </p:cNvPr>
          <p:cNvSpPr/>
          <p:nvPr/>
        </p:nvSpPr>
        <p:spPr>
          <a:xfrm>
            <a:off x="4952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577CF4-BE65-465E-8E6E-4F922A5C2B9A}"/>
              </a:ext>
            </a:extLst>
          </p:cNvPr>
          <p:cNvSpPr/>
          <p:nvPr/>
        </p:nvSpPr>
        <p:spPr>
          <a:xfrm>
            <a:off x="495299" y="36576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C01003-1E89-497E-829A-8F1C1718C38F}"/>
              </a:ext>
            </a:extLst>
          </p:cNvPr>
          <p:cNvSpPr/>
          <p:nvPr/>
        </p:nvSpPr>
        <p:spPr>
          <a:xfrm>
            <a:off x="62229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05661C-430E-454C-A558-0A2024BA0A3E}"/>
              </a:ext>
            </a:extLst>
          </p:cNvPr>
          <p:cNvSpPr/>
          <p:nvPr/>
        </p:nvSpPr>
        <p:spPr>
          <a:xfrm>
            <a:off x="6222999" y="36576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5059F6-087B-42C4-83BA-515AB13A251B}"/>
              </a:ext>
            </a:extLst>
          </p:cNvPr>
          <p:cNvSpPr/>
          <p:nvPr/>
        </p:nvSpPr>
        <p:spPr>
          <a:xfrm>
            <a:off x="495299" y="18288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745A91-8A68-4BBA-B8E1-E6E683AF3061}"/>
              </a:ext>
            </a:extLst>
          </p:cNvPr>
          <p:cNvSpPr/>
          <p:nvPr/>
        </p:nvSpPr>
        <p:spPr>
          <a:xfrm>
            <a:off x="6222999" y="18288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23581D-D08B-49E8-BD68-608F4CA45748}"/>
              </a:ext>
            </a:extLst>
          </p:cNvPr>
          <p:cNvSpPr/>
          <p:nvPr/>
        </p:nvSpPr>
        <p:spPr>
          <a:xfrm>
            <a:off x="495299" y="40767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A796E9-BECB-4C12-8354-7E3FDE4A0F75}"/>
              </a:ext>
            </a:extLst>
          </p:cNvPr>
          <p:cNvSpPr/>
          <p:nvPr/>
        </p:nvSpPr>
        <p:spPr>
          <a:xfrm>
            <a:off x="6222999" y="4076700"/>
            <a:ext cx="5476876" cy="16459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20385850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703CED-FF92-4D29-8438-26347D537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6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703CED-FF92-4D29-8438-26347D537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97DAD1-8A03-4D19-9186-6B09F4D4D5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B73EE59-9AA8-4FBE-8BDD-E5B2303EA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F2C38-6BE6-4F24-B5DE-C04CDBA2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1</a:t>
            </a:fld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4952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Titl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95299" y="4027118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2229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222999" y="4027118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Titl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495299" y="182880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222999" y="182880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495299" y="439239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6222999" y="4392390"/>
            <a:ext cx="5476876" cy="197031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 dirty="0">
                <a:solidFill>
                  <a:prstClr val="black"/>
                </a:solidFill>
              </a:rPr>
              <a:t>First level of text, Arial Bold 20pt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cond level of text, Arial 20pt</a:t>
            </a:r>
          </a:p>
          <a:p>
            <a:pPr marL="530225" lvl="2" indent="-246063"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‒"/>
            </a:pPr>
            <a:r>
              <a:rPr lang="en-US" dirty="0">
                <a:solidFill>
                  <a:prstClr val="black"/>
                </a:solidFill>
              </a:rPr>
              <a:t>Third level of text, bullet, Arial 18pt</a:t>
            </a:r>
          </a:p>
        </p:txBody>
      </p:sp>
    </p:spTree>
    <p:extLst>
      <p:ext uri="{BB962C8B-B14F-4D97-AF65-F5344CB8AC3E}">
        <p14:creationId xmlns:p14="http://schemas.microsoft.com/office/powerpoint/2010/main" val="17708659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725193-16BF-426E-9971-AA09BD4A9E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725193-16BF-426E-9971-AA09BD4A9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E0F280-FA4F-4686-B1AD-1B122155E8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9F3BB80-C773-47A0-96A6-22881D4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B0EC2903-302D-4DA0-8B6A-4821A1B1483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222B598-525D-4E8A-98AF-35754D4172C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9BB8A212-6AE0-44B0-BC2E-9BB516734FB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171AAF3-06E5-43B9-8597-1B16EA3D26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D250834-919D-44CC-A968-3C1D5A59579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300" y="1409700"/>
            <a:ext cx="2459038" cy="2019300"/>
          </a:xfrm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level of text</a:t>
            </a:r>
          </a:p>
          <a:p>
            <a:pPr lvl="1"/>
            <a:r>
              <a:rPr lang="en-US" dirty="0"/>
              <a:t>Second level of text</a:t>
            </a:r>
          </a:p>
          <a:p>
            <a:pPr lvl="2"/>
            <a:r>
              <a:rPr lang="en-US" dirty="0"/>
              <a:t>Third level of text</a:t>
            </a:r>
          </a:p>
        </p:txBody>
      </p:sp>
    </p:spTree>
    <p:extLst>
      <p:ext uri="{BB962C8B-B14F-4D97-AF65-F5344CB8AC3E}">
        <p14:creationId xmlns:p14="http://schemas.microsoft.com/office/powerpoint/2010/main" val="17131641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6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4573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A26CBE-0959-45B6-97D3-053D2DA60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80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A26CBE-0959-45B6-97D3-053D2DA60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83750C-EABF-49B8-9EFF-ECC7CE02C7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E16ED1F-8C33-492A-8146-8E56E2FEB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, Arial Black 32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4C0678-D4FE-47BC-AE4C-EBE4D8270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39A335-B23E-455E-8344-270A57D6C7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5790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145C9C-F263-44AB-99F8-90EAE73207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15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145C9C-F263-44AB-99F8-90EAE7320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D5D65B6-A427-4C76-922D-58852A47AF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88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3E87C2-48E3-4EF5-B7EF-0B14F111B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598597" cy="5372100"/>
          </a:xfrm>
        </p:spPr>
        <p:txBody>
          <a:bodyPr/>
          <a:lstStyle/>
          <a:p>
            <a:r>
              <a:rPr lang="da-DK" dirty="0"/>
              <a:t>Large text Duo amet constitut. </a:t>
            </a:r>
          </a:p>
        </p:txBody>
      </p:sp>
    </p:spTree>
    <p:extLst>
      <p:ext uri="{BB962C8B-B14F-4D97-AF65-F5344CB8AC3E}">
        <p14:creationId xmlns:p14="http://schemas.microsoft.com/office/powerpoint/2010/main" val="28877091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ADC26D-CF1B-4750-B416-75DC20B3C5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38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ADC26D-CF1B-4750-B416-75DC20B3C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A757E2-016A-4E35-8B53-348316FF8E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063A44A-18A5-47D2-BE94-BB76AD736AD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0"/>
            <a:ext cx="58674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BF34F9-9624-4877-9DF3-971366D0E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Statement </a:t>
            </a:r>
            <a:br>
              <a:rPr lang="en-US" dirty="0"/>
            </a:br>
            <a:r>
              <a:rPr lang="en-US" dirty="0"/>
              <a:t>or quote, 36pt. Lorem </a:t>
            </a:r>
            <a:r>
              <a:rPr lang="en-US" dirty="0" err="1"/>
              <a:t>eos</a:t>
            </a:r>
            <a:r>
              <a:rPr lang="en-US" dirty="0"/>
              <a:t>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d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, </a:t>
            </a:r>
            <a:r>
              <a:rPr lang="en-US" dirty="0" err="1"/>
              <a:t>ei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mines </a:t>
            </a:r>
            <a:r>
              <a:rPr lang="en-US" dirty="0" err="1"/>
              <a:t>archum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72760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72ED6C-B300-4121-98B5-44EB70CBF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92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72ED6C-B300-4121-98B5-44EB70CBF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8D7B36-986D-4E2A-B97C-14035CE6F3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BF34F9-9624-4877-9DF3-971366D0E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Statement </a:t>
            </a:r>
            <a:br>
              <a:rPr lang="en-US" dirty="0"/>
            </a:br>
            <a:r>
              <a:rPr lang="en-US" dirty="0"/>
              <a:t>or quote, 36pt. Lorem </a:t>
            </a:r>
            <a:r>
              <a:rPr lang="en-US" dirty="0" err="1"/>
              <a:t>eos</a:t>
            </a:r>
            <a:r>
              <a:rPr lang="en-US" dirty="0"/>
              <a:t>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d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, </a:t>
            </a:r>
            <a:r>
              <a:rPr lang="en-US" dirty="0" err="1"/>
              <a:t>ei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mines </a:t>
            </a:r>
            <a:r>
              <a:rPr lang="en-US" dirty="0" err="1"/>
              <a:t>archum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. </a:t>
            </a:r>
            <a:endParaRPr lang="en-US" sz="4000" dirty="0"/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590E26BF-269A-4A04-97EA-52BF636A489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4600" y="0"/>
            <a:ext cx="5867400" cy="6858000"/>
          </a:xfrm>
        </p:spPr>
      </p:pic>
    </p:spTree>
    <p:extLst>
      <p:ext uri="{BB962C8B-B14F-4D97-AF65-F5344CB8AC3E}">
        <p14:creationId xmlns:p14="http://schemas.microsoft.com/office/powerpoint/2010/main" val="10701624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7872D5-D6BB-499B-B33C-DD12FC45F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6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7872D5-D6BB-499B-B33C-DD12FC45F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64D8381-BA7D-4B11-A289-4C3BB4A7C2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889979-4B69-4A97-9F5E-F83939166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lide Title, Arial Black 36pt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AC94A52-03CB-405D-88DC-08B60D109F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4008335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621384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esentation title, Arial </a:t>
            </a:r>
            <a:r>
              <a:rPr lang="en-US" dirty="0"/>
              <a:t>BLACK, 44pt</a:t>
            </a:r>
            <a:br>
              <a:rPr lang="en-US" dirty="0"/>
            </a:br>
            <a:r>
              <a:rPr lang="en-US" dirty="0"/>
              <a:t>Lorem ipsum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e 29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2283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393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5600700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Presentation title, Arial </a:t>
            </a:r>
            <a:r>
              <a:rPr lang="en-US" dirty="0">
                <a:solidFill>
                  <a:schemeClr val="bg1"/>
                </a:solidFill>
              </a:rPr>
              <a:t>BLACK, 44pt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Lorem ipsum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senter’s Nam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esenter’s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931344-B63A-4C5F-9B85-6372B660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2C2F6-491A-44E6-B818-5FD5EEA2B2B8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e 29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476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0219CA5-4C94-4AB4-BC96-19296873B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02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0219CA5-4C94-4AB4-BC96-19296873B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702ED1-68A4-4C4C-8AB8-131E1BAB33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4002827" cy="492443"/>
          </a:xfrm>
        </p:spPr>
        <p:txBody>
          <a:bodyPr wrap="none"/>
          <a:lstStyle/>
          <a:p>
            <a:r>
              <a:rPr lang="en-US" dirty="0"/>
              <a:t>Section sub-title, Arial Bold, 20pt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ED6C810-C6EF-423D-812D-65DEA83B27A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3348466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8FC027-884D-4442-A30A-1DF4DA8E82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34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8FC027-884D-4442-A30A-1DF4DA8E8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C649FB8-5962-4CF5-AC10-9E74C87622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4002827" cy="492443"/>
          </a:xfrm>
        </p:spPr>
        <p:txBody>
          <a:bodyPr>
            <a:spAutoFit/>
          </a:bodyPr>
          <a:lstStyle/>
          <a:p>
            <a:r>
              <a:rPr lang="en-US" dirty="0"/>
              <a:t>Section sub-title, Arial Bold, 20pt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87A7380F-D68B-47F2-B664-828FE18D5C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BCE16CD-F47F-4E37-AA53-BEB49A836EA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82F1C6B1-C469-409D-9B1B-648DB28048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89359286-BCEE-433C-86D4-45FDF445A05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877B33F5-8B5B-4093-B9D5-6B7E3912F65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320771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0B0F7B-BE97-439D-89E9-9B40E562CD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84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0B0F7B-BE97-439D-89E9-9B40E562C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BEA06D-2B1B-4288-8B3F-D483CC3DC1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2236302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B91A57-EB4F-4542-8C9E-D750C08BBC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1967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B91A57-EB4F-4542-8C9E-D750C08BB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0BB3EE-AA97-474D-AD40-02CC80A164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6413500" cy="2019301"/>
          </a:xfrm>
        </p:spPr>
        <p:txBody>
          <a:bodyPr/>
          <a:lstStyle/>
          <a:p>
            <a:r>
              <a:rPr lang="en-US" dirty="0"/>
              <a:t>Section title, 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3084126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BA23B1-D4E0-4D5F-AF24-1BF923D58E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796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BA23B1-D4E0-4D5F-AF24-1BF923D58E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15E008F-14A3-4454-B4D7-CA17D828FD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423282-47ED-48A9-BB4D-CF63D190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429001"/>
            <a:ext cx="8793556" cy="1447799"/>
          </a:xfrm>
        </p:spPr>
        <p:txBody>
          <a:bodyPr/>
          <a:lstStyle/>
          <a:p>
            <a:r>
              <a:rPr lang="en-US" dirty="0"/>
              <a:t>Section title, </a:t>
            </a:r>
            <a:br>
              <a:rPr lang="en-US" dirty="0"/>
            </a:br>
            <a:r>
              <a:rPr lang="en-US" dirty="0"/>
              <a:t>Arial BLACK, 44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27F83-A045-4A7C-B4C2-579F8862D9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sub-title, Arial Bold, 20pt</a:t>
            </a:r>
          </a:p>
        </p:txBody>
      </p:sp>
    </p:spTree>
    <p:extLst>
      <p:ext uri="{BB962C8B-B14F-4D97-AF65-F5344CB8AC3E}">
        <p14:creationId xmlns:p14="http://schemas.microsoft.com/office/powerpoint/2010/main" val="1291234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8Yhyl67Gw5SmHv0iBO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dc4bCsp5kbWFvl42V5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cXTQbsMSN4HVuQtMH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3_fQbZWIr29kmo_h2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U7FjTlyHCdbhKphd_e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i2NWpTboVMp58lGBhU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1caxfVKck.7maQUYT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8SOnXEDcnHrOPmcZfu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iVCaGdWRYiwt64ITn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7J6r2tzNaWxcQDcPB1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ulY47DTpeonH80yfyr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VP6HIlebQKflHTUwW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832.7sVBqrOvBw8MZc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wxWZHEuv2DW7KcFr_2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wh5GR7t0As0BK5wnUp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DV2vVzrd9PufyH6m0z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4d7jw8zw_6RnZdLmU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jKXYyv0jcsz.Dh0tsn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bTN4AimSV9LgWBo45V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uKKyVvhJLH6Wu_2cw1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3aa2a15c-b9df-4e5f-a901-6d0fe1a76846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ebcbd75c-e4ca-4927-bc28-c3380ef6dc55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5</TotalTime>
  <Words>1174</Words>
  <Application>Microsoft Office PowerPoint</Application>
  <PresentationFormat>Widescreen</PresentationFormat>
  <Paragraphs>210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5" baseType="lpstr">
      <vt:lpstr>Arial</vt:lpstr>
      <vt:lpstr>Arial Black</vt:lpstr>
      <vt:lpstr>Wingdings</vt:lpstr>
      <vt:lpstr>Honeywell 2019</vt:lpstr>
      <vt:lpstr>think-cell Slide</vt:lpstr>
      <vt:lpstr>Honeywell  PowerPoint template 2020</vt:lpstr>
      <vt:lpstr>Presentation title,  Arial BLACK, 44pt</vt:lpstr>
      <vt:lpstr>Presentation title, Arial BLACK, 44pt Lorem ipsum </vt:lpstr>
      <vt:lpstr>Presentation title, Arial BLACK, 44pt Lorem ipsum </vt:lpstr>
      <vt:lpstr>Section title,  Arial BLACK, 44pt</vt:lpstr>
      <vt:lpstr>Section title,  Arial BLACK, 44pt</vt:lpstr>
      <vt:lpstr>Section title,  Arial BLACK, 44pt</vt:lpstr>
      <vt:lpstr>Section title, Arial BLACK, 44pt</vt:lpstr>
      <vt:lpstr>Section title,  Arial BLACK, 44pt</vt:lpstr>
      <vt:lpstr>agenda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Slide Title, Arial Black 32pt</vt:lpstr>
      <vt:lpstr>Large text Duo amet constitut. </vt:lpstr>
      <vt:lpstr>Large Statement  or quote, 36pt. Lorem eos ipsum dolor sit amet, dea diam vitu perata sea, ei luptatum mines archum eos. </vt:lpstr>
      <vt:lpstr>Large Statement  or quote, 36pt. Lorem eos ipsum dolor sit amet, dea diam vitu perata sea, ei luptatum mines archum eos. </vt:lpstr>
      <vt:lpstr>Slide Title, Arial Black 36pt</vt:lpstr>
      <vt:lpstr>PowerPoint Present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84</cp:revision>
  <dcterms:created xsi:type="dcterms:W3CDTF">2019-07-18T16:20:17Z</dcterms:created>
  <dcterms:modified xsi:type="dcterms:W3CDTF">2020-06-29T11:4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